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675" r:id="rId5"/>
  </p:sldMasterIdLst>
  <p:notesMasterIdLst>
    <p:notesMasterId r:id="rId15"/>
  </p:notesMasterIdLst>
  <p:handoutMasterIdLst>
    <p:handoutMasterId r:id="rId16"/>
  </p:handoutMasterIdLst>
  <p:sldIdLst>
    <p:sldId id="747" r:id="rId6"/>
    <p:sldId id="693" r:id="rId7"/>
    <p:sldId id="740" r:id="rId8"/>
    <p:sldId id="741" r:id="rId9"/>
    <p:sldId id="743" r:id="rId10"/>
    <p:sldId id="742" r:id="rId11"/>
    <p:sldId id="744" r:id="rId12"/>
    <p:sldId id="745" r:id="rId13"/>
    <p:sldId id="69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747"/>
            <p14:sldId id="693"/>
            <p14:sldId id="740"/>
            <p14:sldId id="741"/>
            <p14:sldId id="743"/>
            <p14:sldId id="742"/>
            <p14:sldId id="744"/>
            <p14:sldId id="745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833"/>
    <a:srgbClr val="039CD1"/>
    <a:srgbClr val="EB9E2F"/>
    <a:srgbClr val="001440"/>
    <a:srgbClr val="000C26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4660"/>
  </p:normalViewPr>
  <p:slideViewPr>
    <p:cSldViewPr snapToGrid="0">
      <p:cViewPr varScale="1">
        <p:scale>
          <a:sx n="77" d="100"/>
          <a:sy n="77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03-May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101326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741143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849200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0474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075408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90577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29BA2F8-E922-40A4-8489-65AA4A1F35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73056"/>
            <a:ext cx="5991225" cy="600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 descr="A logo with text on it&#10;&#10;Description automatically generated">
            <a:extLst>
              <a:ext uri="{FF2B5EF4-FFF2-40B4-BE49-F238E27FC236}">
                <a16:creationId xmlns:a16="http://schemas.microsoft.com/office/drawing/2014/main" id="{DA5190D6-8A8D-455C-8A30-34F03DA5CC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606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 descr="A poster for a college&#10;&#10;Description automatically generated">
            <a:extLst>
              <a:ext uri="{FF2B5EF4-FFF2-40B4-BE49-F238E27FC236}">
                <a16:creationId xmlns:a16="http://schemas.microsoft.com/office/drawing/2014/main" id="{5DDB0E27-3F9C-480B-BB07-040B735973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9791"/>
            <a:ext cx="5994015" cy="599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812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50435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070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0" y="2005781"/>
            <a:ext cx="5530645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Gotham Light" pitchFamily="50" charset="0"/>
              </a:rPr>
              <a:t>Introduction to Machine Learning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47146" y="1791222"/>
            <a:ext cx="4563648" cy="2163871"/>
          </a:xfrm>
        </p:spPr>
        <p:txBody>
          <a:bodyPr/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Evaluation Metrics for Classification Models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Evaluation Metrics for Classification Mod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166694" y="991927"/>
            <a:ext cx="11882738" cy="49244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re are many different metrics for evaluating the performance of classification models and they include: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Accuracy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Sensitivity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Precision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F1 score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Area under Receiver Operating Characteristics curve (AUC)</a:t>
            </a:r>
          </a:p>
          <a:p>
            <a:pPr marL="0" marR="0" algn="just"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Most of this metrics can be calculated from a confusion matrix.</a:t>
            </a:r>
          </a:p>
        </p:txBody>
      </p:sp>
    </p:spTree>
    <p:extLst>
      <p:ext uri="{BB962C8B-B14F-4D97-AF65-F5344CB8AC3E}">
        <p14:creationId xmlns:p14="http://schemas.microsoft.com/office/powerpoint/2010/main" val="2880557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Confusion Matri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6282813" y="1229010"/>
            <a:ext cx="5737122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spcBef>
                <a:spcPts val="900"/>
              </a:spcBef>
              <a:spcAft>
                <a:spcPts val="900"/>
              </a:spcAft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A confusion matrix is one of the metrics that evaluate the performance of a classifier on a test data. It is a table that allows visualization of the performance of an algorithm. </a:t>
            </a:r>
          </a:p>
        </p:txBody>
      </p:sp>
      <p:pic>
        <p:nvPicPr>
          <p:cNvPr id="4" name="Picture">
            <a:extLst>
              <a:ext uri="{FF2B5EF4-FFF2-40B4-BE49-F238E27FC236}">
                <a16:creationId xmlns:a16="http://schemas.microsoft.com/office/drawing/2014/main" id="{9C04FA3E-580D-4BF2-9B07-A496059BF86A}"/>
              </a:ext>
            </a:extLst>
          </p:cNvPr>
          <p:cNvPicPr/>
          <p:nvPr/>
        </p:nvPicPr>
        <p:blipFill rotWithShape="1">
          <a:blip r:embed="rId3"/>
          <a:srcRect l="2158" t="7191" r="7582"/>
          <a:stretch/>
        </p:blipFill>
        <p:spPr bwMode="auto">
          <a:xfrm>
            <a:off x="0" y="1439897"/>
            <a:ext cx="6096000" cy="2625214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30B9645-869A-4932-8628-B14F931EBD16}"/>
              </a:ext>
            </a:extLst>
          </p:cNvPr>
          <p:cNvSpPr txBox="1"/>
          <p:nvPr/>
        </p:nvSpPr>
        <p:spPr>
          <a:xfrm>
            <a:off x="176981" y="4996407"/>
            <a:ext cx="1184295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dirty="0"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 rows of the confusion matrix represent the actual labels that were contained in the test dataset while the columns represent what the classifier predicted and vice-versa.</a:t>
            </a:r>
          </a:p>
        </p:txBody>
      </p:sp>
    </p:spTree>
    <p:extLst>
      <p:ext uri="{BB962C8B-B14F-4D97-AF65-F5344CB8AC3E}">
        <p14:creationId xmlns:p14="http://schemas.microsoft.com/office/powerpoint/2010/main" val="85992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Terms used in confusion matri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226142" y="2167116"/>
            <a:ext cx="11739716" cy="2523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spcBef>
                <a:spcPts val="900"/>
              </a:spcBef>
              <a:spcAft>
                <a:spcPts val="900"/>
              </a:spcAft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 following are the terms commonly used in confusion matrix. Here we are referring to diabetics’ scenario.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Positive (1): Presence of diabetics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Negative (0): Absence of diabetics</a:t>
            </a:r>
          </a:p>
        </p:txBody>
      </p:sp>
    </p:spTree>
    <p:extLst>
      <p:ext uri="{BB962C8B-B14F-4D97-AF65-F5344CB8AC3E}">
        <p14:creationId xmlns:p14="http://schemas.microsoft.com/office/powerpoint/2010/main" val="399607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Concept in Confusion Matri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226142" y="1268362"/>
            <a:ext cx="11739716" cy="47243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rue Positive (TP): The patient is diabetic, and the classifier predicted it as diabetic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False Positive (FP): The patient is not diabetic, and the classifier predicted it as diabetic. This is known as Type I error.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rue Negative (TN): The patient is not diabetic, and the classifier predicted it as not diabetic</a:t>
            </a:r>
          </a:p>
          <a:p>
            <a:pPr marL="457200" marR="0" indent="-457200" algn="just"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False Negative (FN): The patient is diabetic, and the classifier predicted it as not diabetic</a:t>
            </a:r>
          </a:p>
        </p:txBody>
      </p:sp>
    </p:spTree>
    <p:extLst>
      <p:ext uri="{BB962C8B-B14F-4D97-AF65-F5344CB8AC3E}">
        <p14:creationId xmlns:p14="http://schemas.microsoft.com/office/powerpoint/2010/main" val="45750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Concept in Confusion Matri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226142" y="1268362"/>
            <a:ext cx="1173971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A typical example of a confusion matrix using Logistic regression classier on diabetics’ dataset is shown below: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">
            <a:extLst>
              <a:ext uri="{FF2B5EF4-FFF2-40B4-BE49-F238E27FC236}">
                <a16:creationId xmlns:a16="http://schemas.microsoft.com/office/drawing/2014/main" id="{6BC9AC7F-9DF7-487D-91DE-D04855A571C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870154" y="2923255"/>
            <a:ext cx="9984658" cy="3118055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5531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62;p6">
            <a:extLst>
              <a:ext uri="{FF2B5EF4-FFF2-40B4-BE49-F238E27FC236}">
                <a16:creationId xmlns:a16="http://schemas.microsoft.com/office/drawing/2014/main" id="{6CB9416A-9C76-41E5-A2EB-D1B6F8591E19}"/>
              </a:ext>
            </a:extLst>
          </p:cNvPr>
          <p:cNvSpPr/>
          <p:nvPr/>
        </p:nvSpPr>
        <p:spPr>
          <a:xfrm>
            <a:off x="166694" y="134526"/>
            <a:ext cx="10422647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Performance evaluation metrics of a classification mod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0D1100-9485-402C-948F-09B70D53946E}"/>
              </a:ext>
            </a:extLst>
          </p:cNvPr>
          <p:cNvSpPr txBox="1"/>
          <p:nvPr/>
        </p:nvSpPr>
        <p:spPr>
          <a:xfrm>
            <a:off x="226142" y="1799304"/>
            <a:ext cx="11739716" cy="3016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he statistical measure of the performance of a given binary classifier can be evaluated using accuracy, sensitivity, and specificity.</a:t>
            </a: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3200" b="1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Accuracy or Classification Rate</a:t>
            </a:r>
            <a:endParaRPr lang="en-US" sz="3200" b="1" dirty="0">
              <a:latin typeface="+mj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900"/>
              </a:spcBef>
              <a:spcAft>
                <a:spcPts val="900"/>
              </a:spcAft>
            </a:pPr>
            <a:r>
              <a:rPr lang="en-US" sz="3200" dirty="0"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Accuracy of any given classifier is the ratio of what classifier predicted correctly over the total number of predictions.</a:t>
            </a:r>
          </a:p>
        </p:txBody>
      </p:sp>
    </p:spTree>
    <p:extLst>
      <p:ext uri="{BB962C8B-B14F-4D97-AF65-F5344CB8AC3E}">
        <p14:creationId xmlns:p14="http://schemas.microsoft.com/office/powerpoint/2010/main" val="211209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C5115E-CD3F-43DC-8219-13AC7387CE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96" y="1132297"/>
            <a:ext cx="69342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98</TotalTime>
  <Words>327</Words>
  <Application>Microsoft Office PowerPoint</Application>
  <PresentationFormat>Widescreen</PresentationFormat>
  <Paragraphs>28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Gotham Light</vt:lpstr>
      <vt:lpstr>Wingdings</vt:lpstr>
      <vt:lpstr>2_Office Theme</vt:lpstr>
      <vt:lpstr>1_Office Theme</vt:lpstr>
      <vt:lpstr>think-cell Slide</vt:lpstr>
      <vt:lpstr>Introduction to Machine Learning</vt:lpstr>
      <vt:lpstr>Evaluation Metrics for Classification Mode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Olusola Timothy Ogundepo</cp:lastModifiedBy>
  <cp:revision>56</cp:revision>
  <dcterms:created xsi:type="dcterms:W3CDTF">2020-03-16T19:15:12Z</dcterms:created>
  <dcterms:modified xsi:type="dcterms:W3CDTF">2024-05-03T13:3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